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1947" r:id="rId2"/>
    <p:sldId id="1955" r:id="rId3"/>
    <p:sldId id="1987" r:id="rId4"/>
    <p:sldId id="1949" r:id="rId5"/>
    <p:sldId id="1988" r:id="rId6"/>
    <p:sldId id="1950" r:id="rId7"/>
    <p:sldId id="1957" r:id="rId8"/>
    <p:sldId id="1958" r:id="rId9"/>
    <p:sldId id="1962" r:id="rId10"/>
    <p:sldId id="1993" r:id="rId11"/>
    <p:sldId id="1989" r:id="rId12"/>
    <p:sldId id="1975" r:id="rId13"/>
    <p:sldId id="1976" r:id="rId14"/>
    <p:sldId id="1977" r:id="rId15"/>
    <p:sldId id="1978" r:id="rId16"/>
    <p:sldId id="1980" r:id="rId17"/>
    <p:sldId id="1981" r:id="rId18"/>
    <p:sldId id="1982" r:id="rId19"/>
    <p:sldId id="1990" r:id="rId20"/>
    <p:sldId id="1951" r:id="rId21"/>
    <p:sldId id="1991" r:id="rId22"/>
    <p:sldId id="1965" r:id="rId23"/>
    <p:sldId id="1974" r:id="rId24"/>
    <p:sldId id="1963" r:id="rId25"/>
    <p:sldId id="1966" r:id="rId26"/>
    <p:sldId id="1964" r:id="rId27"/>
    <p:sldId id="1967" r:id="rId28"/>
    <p:sldId id="1968" r:id="rId29"/>
    <p:sldId id="1969" r:id="rId30"/>
    <p:sldId id="1970" r:id="rId31"/>
    <p:sldId id="1971" r:id="rId32"/>
    <p:sldId id="1972" r:id="rId33"/>
    <p:sldId id="1973" r:id="rId34"/>
    <p:sldId id="1992" r:id="rId35"/>
    <p:sldId id="1959" r:id="rId36"/>
    <p:sldId id="1961" r:id="rId37"/>
    <p:sldId id="1983" r:id="rId38"/>
    <p:sldId id="1984" r:id="rId39"/>
    <p:sldId id="1986" r:id="rId40"/>
    <p:sldId id="1956" r:id="rId41"/>
  </p:sldIdLst>
  <p:sldSz cx="9144000" cy="6858000" type="screen4x3"/>
  <p:notesSz cx="6858000" cy="9661525"/>
  <p:custShowLst>
    <p:custShow name="Mustermann1" id="0">
      <p:sldLst/>
    </p:custShow>
  </p:custShowLst>
  <p:custDataLst>
    <p:tags r:id="rId44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8" d="100"/>
          <a:sy n="118" d="100"/>
        </p:scale>
        <p:origin x="1002" y="108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/>
      <dgm:t>
        <a:bodyPr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95250" tIns="47625" rIns="95250" bIns="47625" numCol="1" spcCol="1270" anchor="ctr" anchorCtr="0"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>
        <a:solidFill>
          <a:schemeClr val="accent1"/>
        </a:solidFill>
      </dgm:spPr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2">
            <a:shade val="80000"/>
            <a:hueOff val="165674"/>
            <a:satOff val="-13274"/>
            <a:lumOff val="76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7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5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9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8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tter Daten </a:t>
            </a:r>
            <a:r>
              <a:rPr lang="de-DE" dirty="0" err="1"/>
              <a:t>Missing</a:t>
            </a:r>
            <a:r>
              <a:rPr lang="de-DE" dirty="0"/>
              <a:t> Valu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DAAA44-A1CC-9315-06EF-73E29C9C26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09" y="1210902"/>
            <a:ext cx="6113682" cy="48856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930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665171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exploration</a:t>
            </a:r>
          </a:p>
        </p:txBody>
      </p:sp>
    </p:spTree>
    <p:extLst>
      <p:ext uri="{BB962C8B-B14F-4D97-AF65-F5344CB8AC3E}">
        <p14:creationId xmlns:p14="http://schemas.microsoft.com/office/powerpoint/2010/main" val="316256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038663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714465152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892605043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val="3183754029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A53E07B-9265-78F5-9EAE-AC2FEC43E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15421" y="1448672"/>
            <a:ext cx="5579832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049637152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820473851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12445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556607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7843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591447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59069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1123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  <p:pic>
        <p:nvPicPr>
          <p:cNvPr id="7" name="Inhaltsplatzhalter 6" descr="Prozentuale Verteilung der Spalte RESULT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73" y="1242204"/>
            <a:ext cx="7891224" cy="4734734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lleistung für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66" y="1176067"/>
            <a:ext cx="7435970" cy="495731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lleistung für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28624"/>
            <a:ext cx="7520075" cy="501338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F1-Score Klasse 0 (Auswärtssieg)</a:t>
            </a:r>
          </a:p>
        </p:txBody>
      </p:sp>
      <p:pic>
        <p:nvPicPr>
          <p:cNvPr id="6" name="Grafik 5" descr="Modellleistung für Total_F1-Score_Class_0 _Auswärts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1" y="1164566"/>
            <a:ext cx="7453223" cy="496881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786648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 Transfermarkt</a:t>
            </a:r>
          </a:p>
        </p:txBody>
      </p:sp>
    </p:spTree>
    <p:extLst>
      <p:ext uri="{BB962C8B-B14F-4D97-AF65-F5344CB8AC3E}">
        <p14:creationId xmlns:p14="http://schemas.microsoft.com/office/powerpoint/2010/main" val="295987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618" y="1174630"/>
            <a:ext cx="7306574" cy="4871049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30" y="1140123"/>
            <a:ext cx="7360490" cy="4906994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6" name="Grafik 5" descr="Top 7 Teams für home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54" y="1122874"/>
            <a:ext cx="7565366" cy="504357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6" name="Grafik 5" descr="Top 7 Teams für away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143001"/>
            <a:ext cx="7556740" cy="503782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1962493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604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Gewichtung bei Zufall</a:t>
                </a:r>
              </a:p>
              <a:p>
                <a:pPr lvl="2"/>
                <a:r>
                  <a:rPr lang="de-DE" sz="1100" dirty="0"/>
                  <a:t>Heimsieg: 42.25%</a:t>
                </a:r>
              </a:p>
              <a:p>
                <a:pPr lvl="2"/>
                <a:r>
                  <a:rPr lang="de-DE" sz="1100" dirty="0"/>
                  <a:t>Unentschieden: 24.8%</a:t>
                </a:r>
              </a:p>
              <a:p>
                <a:pPr lvl="2"/>
                <a:r>
                  <a:rPr lang="de-DE" sz="1100" dirty="0"/>
                  <a:t>Auswärtssieg: 29.94%</a:t>
                </a:r>
                <a:endParaRPr lang="de-DE" dirty="0"/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 b="-57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6" descr="Prozentuale Verteilung der Spalte RESULT.jpeg">
            <a:extLst>
              <a:ext uri="{FF2B5EF4-FFF2-40B4-BE49-F238E27FC236}">
                <a16:creationId xmlns:a16="http://schemas.microsoft.com/office/drawing/2014/main" id="{D14840A8-4460-0F2B-B7DD-A68A4E13C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0063" y="2370965"/>
            <a:ext cx="1574576" cy="94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A5C051E-5423-1972-B635-54A092E88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83" y="1286419"/>
            <a:ext cx="3809860" cy="193820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9A3D5F6-EC1E-C7DC-000E-2AAC58C57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83" y="3633378"/>
            <a:ext cx="3921827" cy="1915311"/>
          </a:xfrm>
          <a:prstGeom prst="rect">
            <a:avLst/>
          </a:prstGeom>
        </p:spPr>
      </p:pic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E80D7435-A8BA-89B1-3045-572F65C8B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5021" y="1286419"/>
            <a:ext cx="3809860" cy="195795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1C6EB9C-9181-A22A-126F-CA250061F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5556" y="360653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23443"/>
      </p:ext>
    </p:extLst>
  </p:cSld>
  <p:clrMapOvr>
    <a:masterClrMapping/>
  </p:clrMapOvr>
  <p:transition>
    <p:dissolv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116E25-6A74-CADA-5E0F-C7F041396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3687580"/>
            <a:ext cx="3915795" cy="202512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DE7218-74B7-ED9A-CE8C-03A289479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6" y="137257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301330"/>
      </p:ext>
    </p:extLst>
  </p:cSld>
  <p:clrMapOvr>
    <a:masterClrMapping/>
  </p:clrMapOvr>
  <p:transition>
    <p:dissolv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F53069-8B31-D076-8B91-6C91390C0C97}"/>
              </a:ext>
            </a:extLst>
          </p:cNvPr>
          <p:cNvSpPr txBox="1">
            <a:spLocks/>
          </p:cNvSpPr>
          <p:nvPr/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In allen Fällen wurde Nullhypothese abgelehnt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 Prognosemodell statistisch signifikant unterschiedlich zu Zufallsmodell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r>
              <a:rPr lang="de-DE" kern="0" dirty="0">
                <a:sym typeface="Wingdings" panose="05000000000000000000" pitchFamily="2" charset="2"/>
              </a:rPr>
              <a:t>Test trifft keine Aussage über Stärke und Richtung der Unterschiede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Anhaltspunkt: Vergleiche die Werte b und c miteinander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Da in den Prognosemodellen im Vergleich zum Zufallsmodell stets b&gt;c</a:t>
            </a:r>
          </a:p>
          <a:p>
            <a:pPr lvl="2"/>
            <a:r>
              <a:rPr lang="de-DE" kern="0" dirty="0">
                <a:sym typeface="Wingdings" panose="05000000000000000000" pitchFamily="2" charset="2"/>
              </a:rPr>
              <a:t> Prognosemodell statistisch signifikant besser als Zufallsmodell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10839227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612380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0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994</Words>
  <Application>Microsoft Office PowerPoint</Application>
  <PresentationFormat>Bildschirmpräsentation (4:3)</PresentationFormat>
  <Paragraphs>322</Paragraphs>
  <Slides>4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0</vt:i4>
      </vt:variant>
      <vt:variant>
        <vt:lpstr>Zielgruppenorientierte Präsentationen</vt:lpstr>
      </vt:variant>
      <vt:variant>
        <vt:i4>1</vt:i4>
      </vt:variant>
    </vt:vector>
  </HeadingPairs>
  <TitlesOfParts>
    <vt:vector size="48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</vt:lpstr>
      <vt:lpstr>Benchmark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Web Mining</vt:lpstr>
      <vt:lpstr>Modellsignifikanz</vt:lpstr>
      <vt:lpstr>Modellsignifikanz</vt:lpstr>
      <vt:lpstr>Modellsignifikanz</vt:lpstr>
      <vt:lpstr>Modellsignifikanz</vt:lpstr>
      <vt:lpstr>Modellsignifikanz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58</cp:revision>
  <cp:lastPrinted>2010-04-29T14:30:22Z</cp:lastPrinted>
  <dcterms:created xsi:type="dcterms:W3CDTF">2010-04-29T12:39:23Z</dcterms:created>
  <dcterms:modified xsi:type="dcterms:W3CDTF">2023-09-15T19:4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9-15T19:46:45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acb29243-9492-409f-8224-7b572471ecea</vt:lpwstr>
  </property>
  <property fmtid="{D5CDD505-2E9C-101B-9397-08002B2CF9AE}" pid="8" name="MSIP_Label_0359f705-2ba0-454b-9cfc-6ce5bcaac040_ContentBits">
    <vt:lpwstr>2</vt:lpwstr>
  </property>
</Properties>
</file>